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27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1635895234006E-2"/>
          <c:y val="2.0651310563939634E-2"/>
          <c:w val="0.97767282095319885"/>
          <c:h val="0.9586973788721207"/>
        </c:manualLayout>
      </c:layout>
      <c:lineChart>
        <c:grouping val="standard"/>
        <c:varyColors val="0"/>
        <c:ser>
          <c:idx val="0"/>
          <c:order val="0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510F-4F5A-87B7-738624910474}"/>
              </c:ext>
            </c:extLst>
          </c:dPt>
          <c:dPt>
            <c:idx val="1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510F-4F5A-87B7-738624910474}"/>
              </c:ext>
            </c:extLst>
          </c:dPt>
          <c:dPt>
            <c:idx val="2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510F-4F5A-87B7-738624910474}"/>
              </c:ext>
            </c:extLst>
          </c:dPt>
          <c:dPt>
            <c:idx val="3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510F-4F5A-87B7-738624910474}"/>
              </c:ext>
            </c:extLst>
          </c:dPt>
          <c:dPt>
            <c:idx val="4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510F-4F5A-87B7-738624910474}"/>
              </c:ext>
            </c:extLst>
          </c:dPt>
          <c:dPt>
            <c:idx val="5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510F-4F5A-87B7-738624910474}"/>
              </c:ext>
            </c:extLst>
          </c:dPt>
          <c:dPt>
            <c:idx val="6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510F-4F5A-87B7-738624910474}"/>
              </c:ext>
            </c:extLst>
          </c:dPt>
          <c:dPt>
            <c:idx val="7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510F-4F5A-87B7-738624910474}"/>
              </c:ext>
            </c:extLst>
          </c:dPt>
          <c:dPt>
            <c:idx val="8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510F-4F5A-87B7-738624910474}"/>
              </c:ext>
            </c:extLst>
          </c:dPt>
          <c:dPt>
            <c:idx val="9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510F-4F5A-87B7-738624910474}"/>
              </c:ext>
            </c:extLst>
          </c:dPt>
          <c:dPt>
            <c:idx val="10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510F-4F5A-87B7-738624910474}"/>
              </c:ext>
            </c:extLst>
          </c:dPt>
          <c:dPt>
            <c:idx val="11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510F-4F5A-87B7-738624910474}"/>
              </c:ext>
            </c:extLst>
          </c:dPt>
          <c:errBars>
            <c:errDir val="y"/>
            <c:errBarType val="plus"/>
            <c:errValType val="cust"/>
            <c:noEndCap val="1"/>
            <c:plus>
              <c:numRef>
                <c:f>Sheet1!$A$1:$L$1</c:f>
                <c:numCache>
                  <c:formatCode>General</c:formatCode>
                  <c:ptCount val="12"/>
                  <c:pt idx="0">
                    <c:v>-850</c:v>
                  </c:pt>
                  <c:pt idx="1">
                    <c:v>-550</c:v>
                  </c:pt>
                  <c:pt idx="2">
                    <c:v>-240</c:v>
                  </c:pt>
                  <c:pt idx="3">
                    <c:v>-520</c:v>
                  </c:pt>
                  <c:pt idx="4">
                    <c:v>-900</c:v>
                  </c:pt>
                  <c:pt idx="5">
                    <c:v>-700</c:v>
                  </c:pt>
                  <c:pt idx="6">
                    <c:v>-700</c:v>
                  </c:pt>
                  <c:pt idx="7">
                    <c:v>-400</c:v>
                  </c:pt>
                  <c:pt idx="8">
                    <c:v>-832</c:v>
                  </c:pt>
                  <c:pt idx="9">
                    <c:v>-500</c:v>
                  </c:pt>
                  <c:pt idx="10">
                    <c:v>-800</c:v>
                  </c:pt>
                  <c:pt idx="11">
                    <c:v>-848</c:v>
                  </c:pt>
                </c:numCache>
              </c:numRef>
            </c:plus>
            <c:spPr>
              <a:ln w="9525" cmpd="sng" algn="ctr">
                <a:solidFill>
                  <a:schemeClr val="tx1"/>
                </a:solidFill>
                <a:prstDash val="solid"/>
              </a:ln>
            </c:spPr>
          </c:errBars>
          <c:val>
            <c:numRef>
              <c:f>Sheet1!$A$2:$L$2</c:f>
              <c:numCache>
                <c:formatCode>General</c:formatCode>
                <c:ptCount val="12"/>
                <c:pt idx="0">
                  <c:v>1511.1234705228035</c:v>
                </c:pt>
                <c:pt idx="1">
                  <c:v>1211.1234705228035</c:v>
                </c:pt>
                <c:pt idx="2">
                  <c:v>1111.1234705228035</c:v>
                </c:pt>
                <c:pt idx="3">
                  <c:v>1011.1234705228035</c:v>
                </c:pt>
                <c:pt idx="4">
                  <c:v>1311.1234705228035</c:v>
                </c:pt>
                <c:pt idx="5">
                  <c:v>1211.1234705228035</c:v>
                </c:pt>
                <c:pt idx="6">
                  <c:v>1161.1234705228035</c:v>
                </c:pt>
                <c:pt idx="7">
                  <c:v>1011.1234705228035</c:v>
                </c:pt>
                <c:pt idx="8">
                  <c:v>1411.1234705228035</c:v>
                </c:pt>
                <c:pt idx="9">
                  <c:v>1161.1234705228035</c:v>
                </c:pt>
                <c:pt idx="10">
                  <c:v>1511.1234705228035</c:v>
                </c:pt>
                <c:pt idx="11">
                  <c:v>1611.1234705228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510F-4F5A-87B7-738624910474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none"/>
          </c:marker>
          <c:errBars>
            <c:errDir val="y"/>
            <c:errBarType val="plus"/>
            <c:errValType val="cust"/>
            <c:noEndCap val="1"/>
            <c:plus>
              <c:numRef>
                <c:f>Sheet1!$A$3:$L$3</c:f>
                <c:numCache>
                  <c:formatCode>General</c:formatCode>
                  <c:ptCount val="12"/>
                  <c:pt idx="0">
                    <c:v>-420</c:v>
                  </c:pt>
                  <c:pt idx="1">
                    <c:v>-300</c:v>
                  </c:pt>
                  <c:pt idx="2">
                    <c:v>-140</c:v>
                  </c:pt>
                  <c:pt idx="3">
                    <c:v>-320</c:v>
                  </c:pt>
                  <c:pt idx="4">
                    <c:v>-320</c:v>
                  </c:pt>
                  <c:pt idx="5">
                    <c:v>-320</c:v>
                  </c:pt>
                  <c:pt idx="6">
                    <c:v>-320</c:v>
                  </c:pt>
                  <c:pt idx="7">
                    <c:v>-250</c:v>
                  </c:pt>
                  <c:pt idx="8">
                    <c:v>-400</c:v>
                  </c:pt>
                  <c:pt idx="9">
                    <c:v>-260</c:v>
                  </c:pt>
                  <c:pt idx="10">
                    <c:v>-400</c:v>
                  </c:pt>
                  <c:pt idx="11">
                    <c:v>-459</c:v>
                  </c:pt>
                </c:numCache>
              </c:numRef>
            </c:plus>
            <c:spPr>
              <a:ln w="152400" cmpd="sng" algn="ctr">
                <a:solidFill>
                  <a:schemeClr val="accent1"/>
                </a:solidFill>
                <a:prstDash val="lgDash"/>
              </a:ln>
            </c:spPr>
          </c:errBars>
          <c:val>
            <c:numRef>
              <c:f>Sheet1!$A$4:$L$4</c:f>
              <c:numCache>
                <c:formatCode>General</c:formatCode>
                <c:ptCount val="12"/>
                <c:pt idx="0">
                  <c:v>1211.1234705228035</c:v>
                </c:pt>
                <c:pt idx="1">
                  <c:v>1061.1234705228035</c:v>
                </c:pt>
                <c:pt idx="2">
                  <c:v>1051.1234705228035</c:v>
                </c:pt>
                <c:pt idx="3">
                  <c:v>911.12347052280347</c:v>
                </c:pt>
                <c:pt idx="4">
                  <c:v>911.12347052280347</c:v>
                </c:pt>
                <c:pt idx="5">
                  <c:v>911.12347052280347</c:v>
                </c:pt>
                <c:pt idx="6">
                  <c:v>911.12347052280347</c:v>
                </c:pt>
                <c:pt idx="7">
                  <c:v>911.12347052280347</c:v>
                </c:pt>
                <c:pt idx="8">
                  <c:v>1111.1234705228035</c:v>
                </c:pt>
                <c:pt idx="9">
                  <c:v>1011.1234705228035</c:v>
                </c:pt>
                <c:pt idx="10">
                  <c:v>1211.1234705228035</c:v>
                </c:pt>
                <c:pt idx="11">
                  <c:v>1411.1234705228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510F-4F5A-87B7-738624910474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510F-4F5A-87B7-738624910474}"/>
              </c:ext>
            </c:extLst>
          </c:dPt>
          <c:dPt>
            <c:idx val="1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510F-4F5A-87B7-738624910474}"/>
              </c:ext>
            </c:extLst>
          </c:dPt>
          <c:dPt>
            <c:idx val="2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510F-4F5A-87B7-738624910474}"/>
              </c:ext>
            </c:extLst>
          </c:dPt>
          <c:dPt>
            <c:idx val="3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510F-4F5A-87B7-738624910474}"/>
              </c:ext>
            </c:extLst>
          </c:dPt>
          <c:dPt>
            <c:idx val="4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510F-4F5A-87B7-738624910474}"/>
              </c:ext>
            </c:extLst>
          </c:dPt>
          <c:dPt>
            <c:idx val="5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510F-4F5A-87B7-738624910474}"/>
              </c:ext>
            </c:extLst>
          </c:dPt>
          <c:dPt>
            <c:idx val="6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510F-4F5A-87B7-738624910474}"/>
              </c:ext>
            </c:extLst>
          </c:dPt>
          <c:dPt>
            <c:idx val="7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510F-4F5A-87B7-738624910474}"/>
              </c:ext>
            </c:extLst>
          </c:dPt>
          <c:dPt>
            <c:idx val="8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510F-4F5A-87B7-738624910474}"/>
              </c:ext>
            </c:extLst>
          </c:dPt>
          <c:dPt>
            <c:idx val="9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510F-4F5A-87B7-738624910474}"/>
              </c:ext>
            </c:extLst>
          </c:dPt>
          <c:dPt>
            <c:idx val="10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510F-4F5A-87B7-738624910474}"/>
              </c:ext>
            </c:extLst>
          </c:dPt>
          <c:dPt>
            <c:idx val="11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510F-4F5A-87B7-738624910474}"/>
              </c:ext>
            </c:extLst>
          </c:dPt>
          <c:val>
            <c:numRef>
              <c:f>Sheet1!$A$5:$L$5</c:f>
              <c:numCache>
                <c:formatCode>General</c:formatCode>
                <c:ptCount val="12"/>
                <c:pt idx="0">
                  <c:v>1001.1234705228035</c:v>
                </c:pt>
                <c:pt idx="1">
                  <c:v>911.12347052280347</c:v>
                </c:pt>
                <c:pt idx="2">
                  <c:v>981.12347052280347</c:v>
                </c:pt>
                <c:pt idx="3">
                  <c:v>751.12347052280347</c:v>
                </c:pt>
                <c:pt idx="4">
                  <c:v>751.12347052280347</c:v>
                </c:pt>
                <c:pt idx="5">
                  <c:v>751.12347052280347</c:v>
                </c:pt>
                <c:pt idx="6">
                  <c:v>751.12347052280347</c:v>
                </c:pt>
                <c:pt idx="7">
                  <c:v>786.12347052280347</c:v>
                </c:pt>
                <c:pt idx="8">
                  <c:v>911.12347052280347</c:v>
                </c:pt>
                <c:pt idx="9">
                  <c:v>881.12347052280347</c:v>
                </c:pt>
                <c:pt idx="10">
                  <c:v>1011.1234705228035</c:v>
                </c:pt>
                <c:pt idx="11">
                  <c:v>1181.6234705228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A-510F-4F5A-87B7-738624910474}"/>
            </c:ext>
          </c:extLst>
        </c:ser>
        <c:ser>
          <c:idx val="3"/>
          <c:order val="3"/>
          <c:spPr>
            <a:ln>
              <a:noFill/>
            </a:ln>
          </c:spPr>
          <c:marker>
            <c:symbol val="none"/>
          </c:marker>
          <c:val>
            <c:numRef>
              <c:f>Sheet1!$A$6:$L$6</c:f>
              <c:numCache>
                <c:formatCode>General</c:formatCode>
                <c:ptCount val="12"/>
                <c:pt idx="0">
                  <c:v>791.12347052280347</c:v>
                </c:pt>
                <c:pt idx="1">
                  <c:v>761.12347052280347</c:v>
                </c:pt>
                <c:pt idx="2">
                  <c:v>911.12347052280347</c:v>
                </c:pt>
                <c:pt idx="3">
                  <c:v>591.12347052280347</c:v>
                </c:pt>
                <c:pt idx="4">
                  <c:v>591.12347052280347</c:v>
                </c:pt>
                <c:pt idx="5">
                  <c:v>591.12347052280347</c:v>
                </c:pt>
                <c:pt idx="6">
                  <c:v>591.12347052280347</c:v>
                </c:pt>
                <c:pt idx="7">
                  <c:v>661.12347052280347</c:v>
                </c:pt>
                <c:pt idx="8">
                  <c:v>711.12347052280347</c:v>
                </c:pt>
                <c:pt idx="9">
                  <c:v>751.12347052280347</c:v>
                </c:pt>
                <c:pt idx="10">
                  <c:v>811.12347052280347</c:v>
                </c:pt>
                <c:pt idx="11">
                  <c:v>952.123470522803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B-510F-4F5A-87B7-738624910474}"/>
            </c:ext>
          </c:extLst>
        </c:ser>
        <c:ser>
          <c:idx val="4"/>
          <c:order val="4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510F-4F5A-87B7-738624910474}"/>
              </c:ext>
            </c:extLst>
          </c:dPt>
          <c:dPt>
            <c:idx val="1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510F-4F5A-87B7-738624910474}"/>
              </c:ext>
            </c:extLst>
          </c:dPt>
          <c:dPt>
            <c:idx val="2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510F-4F5A-87B7-738624910474}"/>
              </c:ext>
            </c:extLst>
          </c:dPt>
          <c:dPt>
            <c:idx val="3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510F-4F5A-87B7-738624910474}"/>
              </c:ext>
            </c:extLst>
          </c:dPt>
          <c:dPt>
            <c:idx val="4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510F-4F5A-87B7-738624910474}"/>
              </c:ext>
            </c:extLst>
          </c:dPt>
          <c:dPt>
            <c:idx val="5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510F-4F5A-87B7-738624910474}"/>
              </c:ext>
            </c:extLst>
          </c:dPt>
          <c:dPt>
            <c:idx val="6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510F-4F5A-87B7-738624910474}"/>
              </c:ext>
            </c:extLst>
          </c:dPt>
          <c:dPt>
            <c:idx val="7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510F-4F5A-87B7-738624910474}"/>
              </c:ext>
            </c:extLst>
          </c:dPt>
          <c:dPt>
            <c:idx val="8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510F-4F5A-87B7-738624910474}"/>
              </c:ext>
            </c:extLst>
          </c:dPt>
          <c:dPt>
            <c:idx val="9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510F-4F5A-87B7-738624910474}"/>
              </c:ext>
            </c:extLst>
          </c:dPt>
          <c:dPt>
            <c:idx val="10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510F-4F5A-87B7-738624910474}"/>
              </c:ext>
            </c:extLst>
          </c:dPt>
          <c:dPt>
            <c:idx val="11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510F-4F5A-87B7-738624910474}"/>
              </c:ext>
            </c:extLst>
          </c:dPt>
          <c:val>
            <c:numRef>
              <c:f>Sheet1!$A$7:$L$7</c:f>
              <c:numCache>
                <c:formatCode>General</c:formatCode>
                <c:ptCount val="12"/>
                <c:pt idx="0">
                  <c:v>661.12347052280347</c:v>
                </c:pt>
                <c:pt idx="1">
                  <c:v>661.12347052280347</c:v>
                </c:pt>
                <c:pt idx="2">
                  <c:v>871.12347052280347</c:v>
                </c:pt>
                <c:pt idx="3">
                  <c:v>491.12347052280347</c:v>
                </c:pt>
                <c:pt idx="4">
                  <c:v>411.12347052280347</c:v>
                </c:pt>
                <c:pt idx="5">
                  <c:v>511.12347052280347</c:v>
                </c:pt>
                <c:pt idx="6">
                  <c:v>461.12347052280347</c:v>
                </c:pt>
                <c:pt idx="7">
                  <c:v>611.12347052280347</c:v>
                </c:pt>
                <c:pt idx="8">
                  <c:v>579.12347052280347</c:v>
                </c:pt>
                <c:pt idx="9">
                  <c:v>661.12347052280347</c:v>
                </c:pt>
                <c:pt idx="10">
                  <c:v>711.12347052280347</c:v>
                </c:pt>
                <c:pt idx="11">
                  <c:v>763.123470522803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8-510F-4F5A-87B7-7386249104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86598239"/>
        <c:axId val="1"/>
      </c:lineChart>
      <c:catAx>
        <c:axId val="9865982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11.123470522803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98659823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993469-F1B3-44FE-82F5-D5976D5FB080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7EFC95-FFB6-457F-9491-29E681A758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059458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78656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9117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2141915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3520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965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85187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9556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019029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21" Type="http://schemas.openxmlformats.org/officeDocument/2006/relationships/tags" Target="../tags/tag24.xml"/><Relationship Id="rId34" Type="http://schemas.openxmlformats.org/officeDocument/2006/relationships/slideLayout" Target="../slideLayouts/slideLayout5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chart" Target="../charts/chart1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image" Target="../media/image4.emf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oleObject" Target="../embeddings/oleObject5.bin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notesSlide" Target="../notesSlides/notesSlide1.xml"/><Relationship Id="rId8" Type="http://schemas.openxmlformats.org/officeDocument/2006/relationships/tags" Target="../tags/tag11.xml"/><Relationship Id="rId3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36" imgW="349" imgH="350" progId="TCLayout.ActiveDocument.1">
                  <p:embed/>
                </p:oleObj>
              </mc:Choice>
              <mc:Fallback>
                <p:oleObj name="think-cell 幻灯片" r:id="rId3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29DB2F0B-807C-3BFF-C602-8E3F51B2F8C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6807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combination, error bar, think-cell, chart, charts, graph, graphs, comment</a:t>
            </a:r>
          </a:p>
        </p:txBody>
      </p:sp>
      <p:sp>
        <p:nvSpPr>
          <p:cNvPr id="18" name="Rechteck 137">
            <a:extLst>
              <a:ext uri="{FF2B5EF4-FFF2-40B4-BE49-F238E27FC236}">
                <a16:creationId xmlns:a16="http://schemas.microsoft.com/office/drawing/2014/main" id="{08CAEA16-DD6E-611B-01F6-430198733330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subtitle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grpSp>
        <p:nvGrpSpPr>
          <p:cNvPr id="19" name="tc_columnheader">
            <a:extLst>
              <a:ext uri="{FF2B5EF4-FFF2-40B4-BE49-F238E27FC236}">
                <a16:creationId xmlns:a16="http://schemas.microsoft.com/office/drawing/2014/main" id="{88296D28-85D0-40E4-0FA4-40BE96908756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20" name="tc_columnhead">
              <a:extLst>
                <a:ext uri="{FF2B5EF4-FFF2-40B4-BE49-F238E27FC236}">
                  <a16:creationId xmlns:a16="http://schemas.microsoft.com/office/drawing/2014/main" id="{5652FEBD-8EDB-85B4-F1AA-FB0E75DFBF77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chart_title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21" name="tc_columnheadline">
              <a:extLst>
                <a:ext uri="{FF2B5EF4-FFF2-40B4-BE49-F238E27FC236}">
                  <a16:creationId xmlns:a16="http://schemas.microsoft.com/office/drawing/2014/main" id="{C5BAA1F2-C084-695D-E303-FA6FBA9A04E4}"/>
                </a:ext>
              </a:extLst>
            </p:cNvPr>
            <p:cNvCxnSpPr>
              <a:cxnSpLocks/>
              <a:stCxn id="20" idx="4"/>
              <a:endCxn id="20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tc_columnheader">
            <a:extLst>
              <a:ext uri="{FF2B5EF4-FFF2-40B4-BE49-F238E27FC236}">
                <a16:creationId xmlns:a16="http://schemas.microsoft.com/office/drawing/2014/main" id="{A49FE862-ABA7-8DCD-EDCC-FEEECE1E63A4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23" name="tc_columnhead">
              <a:extLst>
                <a:ext uri="{FF2B5EF4-FFF2-40B4-BE49-F238E27FC236}">
                  <a16:creationId xmlns:a16="http://schemas.microsoft.com/office/drawing/2014/main" id="{B568D603-8285-A1AA-5848-86DB9AED0F71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24" name="tc_columnheadline">
              <a:extLst>
                <a:ext uri="{FF2B5EF4-FFF2-40B4-BE49-F238E27FC236}">
                  <a16:creationId xmlns:a16="http://schemas.microsoft.com/office/drawing/2014/main" id="{9CF6B69A-AF1B-FAFF-AC27-486A01ACA84B}"/>
                </a:ext>
              </a:extLst>
            </p:cNvPr>
            <p:cNvCxnSpPr>
              <a:cxnSpLocks/>
              <a:stCxn id="23" idx="4"/>
              <a:endCxn id="23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C4589AA9-661F-248E-F296-BCD92CD420CD}"/>
              </a:ext>
            </a:extLst>
          </p:cNvPr>
          <p:cNvSpPr>
            <a:spLocks/>
          </p:cNvSpPr>
          <p:nvPr/>
        </p:nvSpPr>
        <p:spPr>
          <a:xfrm>
            <a:off x="8811108" y="-3206650"/>
            <a:ext cx="4575600" cy="37660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line chart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  <a:endParaRPr kumimoji="0" lang="en-US" sz="1200" b="0" i="0" u="sng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create a box-and-whisker char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, first insert a line char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Next, to 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create boxe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, follow these step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In the chart's datasheet, enter a series representing the upper quartile and a series representing the lower quartile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In the chart, select both series' lines. Right-click a line to open the context menu. Select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Add Error Bar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Click the bars to open the mini toolbar. Adjust the thickness and color of the bar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Next, 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create whisker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, follow these step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In the datasheet, enter a series representing the max. values and a series representing the min. value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Create another set of error bars from these series.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In the error bars' mini toolbar, in the marker style menu, select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Long Ba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Finally, 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create median marker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, follow these step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In the datasheet, enter a series representing the marker value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In the chart, click the series line to open the mini toolbar. Select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No Line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. Add markers, and style as desired.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E470428-F791-CB81-D632-A4B0715AFB1D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923925" y="4816475"/>
            <a:ext cx="7229475" cy="0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FE8E42B-A6CD-1BAC-41DE-1A774D75ED04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923925" y="4340225"/>
            <a:ext cx="7229475" cy="0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98B5E87-8EDB-2314-08EA-682964223D8D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923925" y="3865563"/>
            <a:ext cx="7229475" cy="0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DA05B4A-9550-9D66-88C5-3F19C88E86E7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923925" y="3389313"/>
            <a:ext cx="7229475" cy="0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B62A622-A7B5-2705-CE95-9755D4D0E555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923925" y="2913063"/>
            <a:ext cx="7229475" cy="0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A0E7E54-291A-5832-E95A-1AC6573EC16C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923925" y="2438400"/>
            <a:ext cx="7229475" cy="0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34421F2-3E60-7B4C-D81A-D4620C727CF6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923925" y="1962150"/>
            <a:ext cx="7229475" cy="0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9" name="Chart 3">
            <a:extLst>
              <a:ext uri="{FF2B5EF4-FFF2-40B4-BE49-F238E27FC236}">
                <a16:creationId xmlns:a16="http://schemas.microsoft.com/office/drawing/2014/main" id="{2E68B1B4-DE8D-44E2-926C-E63B62C1323E}"/>
              </a:ext>
            </a:extLst>
          </p:cNvPr>
          <p:cNvGraphicFramePr/>
          <p:nvPr>
            <p:custDataLst>
              <p:tags r:id="rId10"/>
            </p:custDataLst>
            <p:extLst/>
          </p:nvPr>
        </p:nvGraphicFramePr>
        <p:xfrm>
          <a:off x="841375" y="1879600"/>
          <a:ext cx="7394575" cy="3997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59C5265B-535F-1A7E-AF5F-1963A87E8AE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90562" y="5688013"/>
            <a:ext cx="115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B3BF0AE-1835-4F53-ACD1-9D2CD306366D}" type="datetime'''''''''''''''''0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519CC85-B868-FEC9-22FD-7FE5FD05F0B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49250" y="4710113"/>
            <a:ext cx="457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28EC53C-8540-4804-B86E-F5FC9C838E8E}" type="datetime'''''''3''0''''''''''''0''''''''''''''''0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000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38F3AF16-2D8F-B3B7-266D-24C0174AB21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54013" y="4233863"/>
            <a:ext cx="4524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971C9A1-A9B3-40D1-89BB-4F78D3482B3E}" type="datetime'''''''''''''''3''''''''''''''''2''0''''''''0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200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06D708B-5DE7-6228-B5C7-49889E420B6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50838" y="3759200"/>
            <a:ext cx="4556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747807E-CCF9-423D-AD1F-49A8E1793C13}" type="datetime'''''''''''''''''''''''''''3''''''4''''0''''''0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400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798A6BEF-68F8-2929-8B0D-37CD6157231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54013" y="3282950"/>
            <a:ext cx="4524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FCF73A1-E43D-4EDD-9E18-5C743F608931}" type="datetime'''''''''''''''''''''''''''''''''''''''3''60''''0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600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CCE6B83-4527-13B7-5EE7-2B309B81399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50838" y="2806700"/>
            <a:ext cx="4556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795E237-B138-47D2-98E6-D3B540BD722D}" type="datetime'''38''''''''''''''''''''''''''''''''0''''0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800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FAE88E9E-3F21-DCA0-3CDA-E7D78349932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44488" y="2332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59587E6-26B0-43A0-800D-17123E086B56}" type="datetime'''''''''4''''''''''''''''0''''''''''''''''0''''''''0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000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297DC6FF-506C-36DC-506C-D50AF43FF648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49250" y="1855788"/>
            <a:ext cx="457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FE11602-D96A-4EF8-92A8-0AB6DEA698F0}" type="datetime'''''''''4''''''''''''2''''''''''''''''''''0''''0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200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 useBgFill="1">
        <p:nvSpPr>
          <p:cNvPr id="31" name="任意多边形: 形状 30">
            <a:extLst>
              <a:ext uri="{FF2B5EF4-FFF2-40B4-BE49-F238E27FC236}">
                <a16:creationId xmlns:a16="http://schemas.microsoft.com/office/drawing/2014/main" id="{F078E0A8-605B-4643-BAA3-2E8D797E77F2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850900" y="525780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7060C9DA-0AAA-4ED3-96C4-211AD53F977D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850900" y="52578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EBD53B8B-D941-43C6-AD25-F674DEBEF0AD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850900" y="53149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8A1D7DB9-EADD-A6A5-D3D2-20C916E585C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063625" y="5853113"/>
            <a:ext cx="3254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AE3FDDF-C47A-4B44-8722-12F1B1699F07}" type="datetime'''''''''''''''''''''''''''''J''''a''''''''''''''''''''n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Jan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BF28102F-AF0E-10C2-A069-738651F89BA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658938" y="5853113"/>
            <a:ext cx="338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F39F664-1C59-4163-B5F2-A389CCE99965}" type="datetime'''''F''''''''''''''e''''''''''''''''''''''b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Feb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C53901E5-DC55-55D1-BB5E-16325A6CD18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255838" y="5853113"/>
            <a:ext cx="349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8BB17CC-DD8E-4B8E-BD73-46BE1323898A}" type="datetime'''''M''''''''''''''''''''''''''a''r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r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CA5103E2-EE7C-6817-0AB6-D24AD1D6E2B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873374" y="5853113"/>
            <a:ext cx="317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1C5DA45-D626-4983-B90D-84C3F8DB6589}" type="datetime'''A''''''''''''''p''''''''r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pr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569C40D6-C2CB-B897-E345-4325ECCCF50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448049" y="5853113"/>
            <a:ext cx="376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A07FFBA-5598-46C5-AA3A-6BF219316893}" type="datetime'''''''''M''''''''''''''''''''a''''''y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y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7386F88-61E8-E1C1-A1A0-4EFE24591CE2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076700" y="5853113"/>
            <a:ext cx="322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EA18840-829F-401D-AE36-C2BEEACF7F39}" type="datetime'J''''''''''''''''''''''''''''u''''''''''''''''''''''n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Jun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CA9AF83-D645-959A-D9A0-158EE1FCF6BC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708525" y="5853113"/>
            <a:ext cx="2651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C637B9C-DF2F-40E1-99D8-1A98AE07BCAD}" type="datetime'''''J''''u''''''l''''''''''''''''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Jul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64C9BA53-9F08-E52B-9645-DD9859CA190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264149" y="5853113"/>
            <a:ext cx="3556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A183AE6-8000-4803-992C-E389551EC147}" type="datetime'''''''''A''''u''''''''g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ug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936FF8BF-7F2E-007E-CFD6-DEF920AF1EE9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5873749" y="5853113"/>
            <a:ext cx="3429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9E86B58-9ED6-4828-8592-0643D85D4D67}" type="datetime'''''''''S''''''''''''''''''''e''''''''''''''''''''p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ep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30BFB348-BAD5-56A3-49D4-75743C49909D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484937" y="5853113"/>
            <a:ext cx="323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A594ABB-E587-46EE-8D9B-404E1F4A08AD}" type="datetime'''''''''Oc''''t''''''''''''''''''''''''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Oct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C770D04E-9809-3FE6-271A-98FBD7AA10C7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075487" y="5853113"/>
            <a:ext cx="350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EC23BB6-2681-4000-9D3E-FE25692E238E}" type="datetime'''''''''No''v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Nov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71F6D108-E11E-D0EF-3DD8-5085AD74E4B5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675563" y="5853113"/>
            <a:ext cx="3540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73FB4AC-C5DC-4F09-A1F6-B78837C44D29}" type="datetime'''''D''''''''''''e''''''''''''c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ec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6A9491FD-E206-4417-A700-03C03468EC46}"/>
              </a:ext>
            </a:extLst>
          </p:cNvPr>
          <p:cNvSpPr txBox="1"/>
          <p:nvPr/>
        </p:nvSpPr>
        <p:spPr>
          <a:xfrm>
            <a:off x="5264149" y="801384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>
                <a:solidFill>
                  <a:srgbClr val="575757"/>
                </a:solidFill>
              </a:rPr>
              <a:t>请手动填充图标内数据</a:t>
            </a:r>
          </a:p>
        </p:txBody>
      </p:sp>
    </p:spTree>
    <p:extLst>
      <p:ext uri="{BB962C8B-B14F-4D97-AF65-F5344CB8AC3E}">
        <p14:creationId xmlns:p14="http://schemas.microsoft.com/office/powerpoint/2010/main" val="10641508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jLV5PYuhLtwzxt10Vad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QgA22VQdgJ_NBRKxfG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zzS46bcffIJC3zroGTI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vPi3rRq8IR2dqe_8k3z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eC0GfV5wsJR58V2v.gh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Yh._jrnkYwOTNlGmZA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TmmUPguKsBCNWqwpP9p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U98HQ8We3V4zD9h_hJ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10KaRQ6oX2aWTwq7Jzz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i7N2ORrT8sX4vAcaKL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hfd9Q5uaa2h_WMlqmh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P9LDi3PTic1DPAhihwc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KXPo7S9piykFlTLoAna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PnM.UmD1Qi5a6DSo3d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KqaC6gE2zeJxeV38toB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cBBIdIN8aPDrwitU1oD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wuavekvauILtx26ju5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Aq6rIIRtlu_zPFI3iR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8EPBFJHFEVSbxyjcEbF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66z55Ka39PnCwauzwF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sdvP3UaBTt34KInBQ1r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xulm00xTBKRnV5Pkpad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iXdZecECwb1M_CXDeS7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2qNZ0YWNArUchjJxHs5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OebLAX_1m9PW3uMViq3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2HEb93CCvzADgZP_V7N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_hpP_PFYO_WRV103.R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sGtdl6UxhOCO0wIQ5GZ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zz5NVsmW5d_Nf_nahG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hxEQI1hFmEOOAQ86kd4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wZleFPQMLrfSz29h6plw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61</Words>
  <Application>Microsoft Office PowerPoint</Application>
  <PresentationFormat>宽屏</PresentationFormat>
  <Paragraphs>39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Arial,Sans-Serif</vt:lpstr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10T07:08:34Z</dcterms:created>
  <dcterms:modified xsi:type="dcterms:W3CDTF">2025-09-10T07:09:30Z</dcterms:modified>
</cp:coreProperties>
</file>